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3A-42A0-B96E-D966DAF494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3A-42A0-B96E-D966DAF494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23A-42A0-B96E-D966DAF4948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3A-42A0-B96E-D966DAF49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071F4-9842-048C-F5BA-3DCE335FF3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3F02DF5-E44A-2AE7-F046-2FA8AD5F8F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F02DF5-E44A-2AE7-F046-2FA8AD5F8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F68BC39-9129-6763-E4A3-43AD2FADC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Doughnut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711AEB3-02BE-99E2-30A4-366B8DDB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1EC5DC45-447C-3160-9C29-C2936FCB95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EAB588A-1C29-2054-0261-C50F95E4A1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6A80F285-D819-364D-2086-9E2944D09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2617CCEA-32B0-9C2A-9E67-4A4506CC6BF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32">
            <a:extLst>
              <a:ext uri="{FF2B5EF4-FFF2-40B4-BE49-F238E27FC236}">
                <a16:creationId xmlns:a16="http://schemas.microsoft.com/office/drawing/2014/main" id="{15D6B7B4-0DB4-043B-BE26-EFB5B5FAF992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21112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Doughnut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0</cp:revision>
  <dcterms:created xsi:type="dcterms:W3CDTF">2025-07-09T10:57:17Z</dcterms:created>
  <dcterms:modified xsi:type="dcterms:W3CDTF">2025-10-22T10:09:01Z</dcterms:modified>
  <cp:category/>
</cp:coreProperties>
</file>